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006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EF224B"/>
    <a:srgbClr val="7E0080"/>
    <a:srgbClr val="DF6FA0"/>
    <a:srgbClr val="9B51B4"/>
    <a:srgbClr val="D7B9E1"/>
    <a:srgbClr val="F2F2F2"/>
    <a:srgbClr val="2B4871"/>
    <a:srgbClr val="05BADD"/>
    <a:srgbClr val="FFB40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969" autoAdjust="0"/>
    <p:restoredTop sz="94558"/>
  </p:normalViewPr>
  <p:slideViewPr>
    <p:cSldViewPr snapToGrid="0">
      <p:cViewPr varScale="1">
        <p:scale>
          <a:sx n="104" d="100"/>
          <a:sy n="104" d="100"/>
        </p:scale>
        <p:origin x="1158" y="114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-22368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5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57D2F44-BC3F-D8BD-359D-6F796B628E65}"/>
              </a:ext>
            </a:extLst>
          </p:cNvPr>
          <p:cNvSpPr/>
          <p:nvPr userDrawn="1"/>
        </p:nvSpPr>
        <p:spPr>
          <a:xfrm flipH="1">
            <a:off x="0" y="6757416"/>
            <a:ext cx="12161520" cy="100584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: Top Corners Rounded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11325812" y="6505575"/>
            <a:ext cx="528138" cy="352425"/>
          </a:xfrm>
          <a:prstGeom prst="round2Same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bg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F770768B-E889-E357-3F75-B2F864830D7E}"/>
              </a:ext>
            </a:extLst>
          </p:cNvPr>
          <p:cNvSpPr/>
          <p:nvPr userDrawn="1"/>
        </p:nvSpPr>
        <p:spPr>
          <a:xfrm rot="5400000">
            <a:off x="-252936" y="360262"/>
            <a:ext cx="734470" cy="228600"/>
          </a:xfrm>
          <a:prstGeom prst="round2SameRect">
            <a:avLst>
              <a:gd name="adj1" fmla="val 22222"/>
              <a:gd name="adj2" fmla="val 0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E05186E-E178-9361-DDF2-77FFA10C93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469EE1CF-0546-CA2C-DCBF-357F4B18717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69EE1CF-0546-CA2C-DCBF-357F4B1871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D8F2A60-5F13-AA1D-6808-0C368190DA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x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431DE11-1E84-7D8E-6257-167B043513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5" name="Google Shape;113;p11">
            <a:extLst>
              <a:ext uri="{FF2B5EF4-FFF2-40B4-BE49-F238E27FC236}">
                <a16:creationId xmlns:a16="http://schemas.microsoft.com/office/drawing/2014/main" id="{39D7621F-C6BA-906B-E0E6-FE742E5DDA19}"/>
              </a:ext>
            </a:extLst>
          </p:cNvPr>
          <p:cNvSpPr/>
          <p:nvPr/>
        </p:nvSpPr>
        <p:spPr>
          <a:xfrm>
            <a:off x="0" y="5952047"/>
            <a:ext cx="12193200" cy="45719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34275" tIns="17125" rIns="34275" bIns="17125" anchor="ctr" anchorCtr="0">
            <a:noAutofit/>
          </a:bodyPr>
          <a:lstStyle/>
          <a:p>
            <a:pPr algn="ctr"/>
            <a:endParaRPr sz="1200" dirty="0">
              <a:solidFill>
                <a:srgbClr val="FFFFFF"/>
              </a:solidFill>
              <a:ea typeface="Verdana"/>
              <a:cs typeface="Arial" panose="020B0604020202020204" pitchFamily="34" charset="0"/>
              <a:sym typeface="Verdana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B940ADB5-B1BC-750B-579D-1FB75A8D2EFF}"/>
              </a:ext>
            </a:extLst>
          </p:cNvPr>
          <p:cNvCxnSpPr>
            <a:cxnSpLocks/>
          </p:cNvCxnSpPr>
          <p:nvPr/>
        </p:nvCxnSpPr>
        <p:spPr>
          <a:xfrm>
            <a:off x="-1200" y="1597660"/>
            <a:ext cx="121932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Oval 6">
            <a:extLst>
              <a:ext uri="{FF2B5EF4-FFF2-40B4-BE49-F238E27FC236}">
                <a16:creationId xmlns:a16="http://schemas.microsoft.com/office/drawing/2014/main" id="{1C61B7E9-E61E-4C71-F073-A709E7F7F04E}"/>
              </a:ext>
            </a:extLst>
          </p:cNvPr>
          <p:cNvSpPr/>
          <p:nvPr/>
        </p:nvSpPr>
        <p:spPr>
          <a:xfrm>
            <a:off x="487102" y="1299210"/>
            <a:ext cx="596900" cy="596900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Arial" panose="020B0604020202020204" pitchFamily="34" charset="0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FB5B0569-4397-E350-CA45-1A09D7EC7668}"/>
              </a:ext>
            </a:extLst>
          </p:cNvPr>
          <p:cNvCxnSpPr>
            <a:cxnSpLocks/>
          </p:cNvCxnSpPr>
          <p:nvPr/>
        </p:nvCxnSpPr>
        <p:spPr>
          <a:xfrm>
            <a:off x="785552" y="1896110"/>
            <a:ext cx="0" cy="4101656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F4ADFA4D-4D55-0AFE-E0C2-3A113D2FF649}"/>
              </a:ext>
            </a:extLst>
          </p:cNvPr>
          <p:cNvSpPr txBox="1"/>
          <p:nvPr/>
        </p:nvSpPr>
        <p:spPr>
          <a:xfrm>
            <a:off x="1084001" y="1896110"/>
            <a:ext cx="10800000" cy="447851"/>
          </a:xfrm>
          <a:prstGeom prst="rect">
            <a:avLst/>
          </a:prstGeom>
          <a:noFill/>
        </p:spPr>
        <p:txBody>
          <a:bodyPr wrap="square" lIns="90000" tIns="90000" rIns="90000" bIns="79200" rtlCol="0" anchor="ctr">
            <a:noAutofit/>
          </a:bodyPr>
          <a:lstStyle/>
          <a:p>
            <a:pPr>
              <a:spcBef>
                <a:spcPts val="400"/>
              </a:spcBef>
              <a:spcAft>
                <a:spcPts val="400"/>
              </a:spcAft>
            </a:pPr>
            <a:r>
              <a:rPr lang="en-US" sz="1800" dirty="0"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982CC79-ABAE-2E72-8149-E52E4341897B}"/>
              </a:ext>
            </a:extLst>
          </p:cNvPr>
          <p:cNvSpPr txBox="1"/>
          <p:nvPr/>
        </p:nvSpPr>
        <p:spPr>
          <a:xfrm>
            <a:off x="1084001" y="2768975"/>
            <a:ext cx="10800000" cy="447851"/>
          </a:xfrm>
          <a:prstGeom prst="rect">
            <a:avLst/>
          </a:prstGeom>
          <a:noFill/>
        </p:spPr>
        <p:txBody>
          <a:bodyPr wrap="square" lIns="90000" tIns="90000" rIns="90000" bIns="79200" rtlCol="0" anchor="ctr">
            <a:noAutofit/>
          </a:bodyPr>
          <a:lstStyle/>
          <a:p>
            <a:pPr>
              <a:spcBef>
                <a:spcPts val="400"/>
              </a:spcBef>
              <a:spcAft>
                <a:spcPts val="400"/>
              </a:spcAft>
            </a:pPr>
            <a:r>
              <a:rPr lang="en-US" sz="1800" dirty="0"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3A0F380-E531-4389-E04D-EC4F104C8187}"/>
              </a:ext>
            </a:extLst>
          </p:cNvPr>
          <p:cNvSpPr txBox="1"/>
          <p:nvPr/>
        </p:nvSpPr>
        <p:spPr>
          <a:xfrm>
            <a:off x="1084001" y="3641840"/>
            <a:ext cx="10800000" cy="447851"/>
          </a:xfrm>
          <a:prstGeom prst="rect">
            <a:avLst/>
          </a:prstGeom>
          <a:noFill/>
        </p:spPr>
        <p:txBody>
          <a:bodyPr wrap="square" lIns="90000" tIns="90000" rIns="90000" bIns="79200" rtlCol="0" anchor="ctr">
            <a:noAutofit/>
          </a:bodyPr>
          <a:lstStyle/>
          <a:p>
            <a:pPr>
              <a:spcBef>
                <a:spcPts val="400"/>
              </a:spcBef>
              <a:spcAft>
                <a:spcPts val="400"/>
              </a:spcAft>
            </a:pPr>
            <a:r>
              <a:rPr lang="en-US" sz="1800" dirty="0"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23D7CBF-82DE-EABC-D11F-EFFB2B79D9B5}"/>
              </a:ext>
            </a:extLst>
          </p:cNvPr>
          <p:cNvSpPr txBox="1"/>
          <p:nvPr/>
        </p:nvSpPr>
        <p:spPr>
          <a:xfrm>
            <a:off x="1084001" y="4514705"/>
            <a:ext cx="10800000" cy="447851"/>
          </a:xfrm>
          <a:prstGeom prst="rect">
            <a:avLst/>
          </a:prstGeom>
          <a:noFill/>
        </p:spPr>
        <p:txBody>
          <a:bodyPr wrap="square" lIns="90000" tIns="90000" rIns="90000" bIns="79200" rtlCol="0" anchor="ctr">
            <a:noAutofit/>
          </a:bodyPr>
          <a:lstStyle/>
          <a:p>
            <a:pPr>
              <a:spcBef>
                <a:spcPts val="400"/>
              </a:spcBef>
              <a:spcAft>
                <a:spcPts val="400"/>
              </a:spcAft>
            </a:pPr>
            <a:r>
              <a:rPr lang="en-US" sz="1800" dirty="0"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4BDF4D1-7D54-F5BE-46BC-137D3857591B}"/>
              </a:ext>
            </a:extLst>
          </p:cNvPr>
          <p:cNvSpPr txBox="1"/>
          <p:nvPr/>
        </p:nvSpPr>
        <p:spPr>
          <a:xfrm>
            <a:off x="1084001" y="5387572"/>
            <a:ext cx="10800000" cy="447851"/>
          </a:xfrm>
          <a:prstGeom prst="rect">
            <a:avLst/>
          </a:prstGeom>
          <a:noFill/>
        </p:spPr>
        <p:txBody>
          <a:bodyPr wrap="square" lIns="90000" tIns="90000" rIns="90000" bIns="79200" rtlCol="0" anchor="ctr">
            <a:noAutofit/>
          </a:bodyPr>
          <a:lstStyle/>
          <a:p>
            <a:pPr>
              <a:spcBef>
                <a:spcPts val="400"/>
              </a:spcBef>
              <a:spcAft>
                <a:spcPts val="400"/>
              </a:spcAft>
            </a:pPr>
            <a:r>
              <a:rPr lang="en-US" sz="1800" dirty="0">
                <a:cs typeface="Arial" panose="020B0604020202020204" pitchFamily="34" charset="0"/>
              </a:rPr>
              <a:t>Insert Text Here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7572FAD5-80A4-13D5-83A5-A25AA9DB3DE9}"/>
              </a:ext>
            </a:extLst>
          </p:cNvPr>
          <p:cNvGrpSpPr/>
          <p:nvPr/>
        </p:nvGrpSpPr>
        <p:grpSpPr>
          <a:xfrm>
            <a:off x="792479" y="2556468"/>
            <a:ext cx="11376000" cy="2618595"/>
            <a:chOff x="1084001" y="2556468"/>
            <a:chExt cx="10800000" cy="2618595"/>
          </a:xfrm>
        </p:grpSpPr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8F0454D1-9727-2694-FFE1-65AE89FDD01F}"/>
                </a:ext>
              </a:extLst>
            </p:cNvPr>
            <p:cNvCxnSpPr>
              <a:cxnSpLocks/>
            </p:cNvCxnSpPr>
            <p:nvPr/>
          </p:nvCxnSpPr>
          <p:spPr>
            <a:xfrm>
              <a:off x="1084001" y="2556468"/>
              <a:ext cx="10800000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A3D215D8-7A63-53B6-4F03-02D68C4B9666}"/>
                </a:ext>
              </a:extLst>
            </p:cNvPr>
            <p:cNvCxnSpPr>
              <a:cxnSpLocks/>
            </p:cNvCxnSpPr>
            <p:nvPr/>
          </p:nvCxnSpPr>
          <p:spPr>
            <a:xfrm>
              <a:off x="1084001" y="3429333"/>
              <a:ext cx="10800000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D94D6D33-26A0-373E-A6E9-540EC0216E75}"/>
                </a:ext>
              </a:extLst>
            </p:cNvPr>
            <p:cNvCxnSpPr>
              <a:cxnSpLocks/>
            </p:cNvCxnSpPr>
            <p:nvPr/>
          </p:nvCxnSpPr>
          <p:spPr>
            <a:xfrm>
              <a:off x="1084001" y="4302198"/>
              <a:ext cx="10800000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3AAE36EF-C4EC-AA82-3C16-629A398EF5F5}"/>
                </a:ext>
              </a:extLst>
            </p:cNvPr>
            <p:cNvCxnSpPr>
              <a:cxnSpLocks/>
            </p:cNvCxnSpPr>
            <p:nvPr/>
          </p:nvCxnSpPr>
          <p:spPr>
            <a:xfrm>
              <a:off x="1084001" y="5175063"/>
              <a:ext cx="10800000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35511021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7E0080"/>
      </a:accent1>
      <a:accent2>
        <a:srgbClr val="9B51B4"/>
      </a:accent2>
      <a:accent3>
        <a:srgbClr val="DF6FA0"/>
      </a:accent3>
      <a:accent4>
        <a:srgbClr val="EF224B"/>
      </a:accent4>
      <a:accent5>
        <a:srgbClr val="C20232"/>
      </a:accent5>
      <a:accent6>
        <a:srgbClr val="7F7F7F"/>
      </a:accent6>
      <a:hlink>
        <a:srgbClr val="0563C1"/>
      </a:hlink>
      <a:folHlink>
        <a:srgbClr val="954F72"/>
      </a:folHlink>
    </a:clrScheme>
    <a:fontScheme name="Custom 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592</TotalTime>
  <Words>17</Words>
  <Application>Microsoft Office PowerPoint</Application>
  <PresentationFormat>Widescreen</PresentationFormat>
  <Paragraphs>7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Verdana</vt:lpstr>
      <vt:lpstr>Wingdings</vt:lpstr>
      <vt:lpstr>Office Theme</vt:lpstr>
      <vt:lpstr>think-cell Slide</vt:lpstr>
      <vt:lpstr>Tex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506</cp:revision>
  <dcterms:created xsi:type="dcterms:W3CDTF">2021-03-31T02:49:57Z</dcterms:created>
  <dcterms:modified xsi:type="dcterms:W3CDTF">2025-10-15T08:36:05Z</dcterms:modified>
  <cp:category/>
</cp:coreProperties>
</file>